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12"/>
  </p:notesMasterIdLst>
  <p:handoutMasterIdLst>
    <p:handoutMasterId r:id="rId13"/>
  </p:handoutMasterIdLst>
  <p:sldIdLst>
    <p:sldId id="470" r:id="rId5"/>
    <p:sldId id="448" r:id="rId6"/>
    <p:sldId id="457" r:id="rId7"/>
    <p:sldId id="496" r:id="rId8"/>
    <p:sldId id="527" r:id="rId9"/>
    <p:sldId id="528" r:id="rId10"/>
    <p:sldId id="444" r:id="rId11"/>
  </p:sldIdLst>
  <p:sldSz cx="8961438" cy="6721475"/>
  <p:notesSz cx="6743700" cy="99060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AB076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115" d="100"/>
          <a:sy n="115" d="100"/>
        </p:scale>
        <p:origin x="-1218" y="-108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7140416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5429898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4565374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757720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210391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335345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blog.octo.com/en/new-web-application-architectures-and-impacts-for-enterprises-1/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hyperlink" Target="http://www.smart-soft.com/downloads/articles/sofea.html" TargetMode="External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/>
          <p:cNvSpPr txBox="1">
            <a:spLocks/>
          </p:cNvSpPr>
          <p:nvPr/>
        </p:nvSpPr>
        <p:spPr>
          <a:xfrm>
            <a:off x="8364724" y="199511"/>
            <a:ext cx="51949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0" y="5212954"/>
            <a:ext cx="8958263" cy="10825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3017520" y="2136880"/>
            <a:ext cx="5643975" cy="18506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buClr>
                <a:srgbClr val="37515F"/>
              </a:buClr>
            </a:pP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1998/2003 – ERP/PLM Architect </a:t>
            </a:r>
          </a:p>
          <a:p>
            <a:pPr lvl="0">
              <a:buClr>
                <a:srgbClr val="37515F"/>
              </a:buClr>
            </a:pP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the 1</a:t>
            </a:r>
            <a:r>
              <a:rPr lang="en-US" sz="1100" baseline="300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</a:t>
            </a: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LM Solution declared as “most innovate” by Gartner…</a:t>
            </a:r>
          </a:p>
          <a:p>
            <a:pPr lvl="0">
              <a:buClr>
                <a:srgbClr val="37515F"/>
              </a:buClr>
            </a:pPr>
            <a:endParaRPr lang="en-US" sz="1100" dirty="0" smtClean="0">
              <a:solidFill>
                <a:srgbClr val="1AB076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lvl="0">
              <a:buClr>
                <a:srgbClr val="37515F"/>
              </a:buClr>
            </a:pP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2003/2008 – U.S CRM C.O.O/C.T.O </a:t>
            </a:r>
          </a:p>
          <a:p>
            <a:pPr lvl="0">
              <a:buClr>
                <a:srgbClr val="37515F"/>
              </a:buClr>
            </a:pP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naged a Startup in San Francisco, moved Apps to the Cloud…</a:t>
            </a:r>
          </a:p>
          <a:p>
            <a:pPr lvl="0">
              <a:buClr>
                <a:srgbClr val="37515F"/>
              </a:buClr>
            </a:pPr>
            <a:endParaRPr lang="en-US" sz="1100" dirty="0" smtClean="0">
              <a:solidFill>
                <a:srgbClr val="1AB076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lvl="0">
              <a:buClr>
                <a:srgbClr val="37515F"/>
              </a:buClr>
            </a:pP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2008/Present – Net Us Up, </a:t>
            </a:r>
            <a:r>
              <a:rPr lang="en-US" sz="14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c</a:t>
            </a: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Mobile, USA), OWApps LTD</a:t>
            </a:r>
          </a:p>
          <a:p>
            <a:pPr lvl="0">
              <a:buClr>
                <a:srgbClr val="37515F"/>
              </a:buClr>
            </a:pP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velop </a:t>
            </a:r>
            <a:r>
              <a:rPr lang="en-US" sz="1100" dirty="0" err="1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dern</a:t>
            </a: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eb, </a:t>
            </a:r>
            <a:r>
              <a:rPr lang="en-US" sz="1100" dirty="0" err="1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bile</a:t>
            </a: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nd Hybrid-</a:t>
            </a:r>
            <a:r>
              <a:rPr lang="en-US" sz="1100" dirty="0" err="1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bile</a:t>
            </a: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pps with and for Enterprises</a:t>
            </a:r>
            <a:endParaRPr lang="en-US" sz="1100" dirty="0">
              <a:solidFill>
                <a:srgbClr val="1AB076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14358" y="1575188"/>
            <a:ext cx="2246305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buClr>
                <a:srgbClr val="37515F"/>
              </a:buClr>
            </a:pPr>
            <a:r>
              <a:rPr lang="en-US" sz="165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onathan Wax</a:t>
            </a:r>
          </a:p>
          <a:p>
            <a:pPr lvl="0" algn="ctr">
              <a:buClr>
                <a:srgbClr val="37515F"/>
              </a:buClr>
            </a:pPr>
            <a:r>
              <a:rPr lang="en-US" sz="14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ftware Architect</a:t>
            </a:r>
            <a:endParaRPr lang="en-US" sz="1400" dirty="0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322540" y="5591092"/>
            <a:ext cx="8338955" cy="4875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 algn="ctr" fontAlgn="auto">
              <a:spcAft>
                <a:spcPts val="0"/>
              </a:spcAft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7515F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In recent years,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rgbClr val="37515F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 working with many Enterprise customers on HTML5 Applicat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7515F"/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5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01318" y="2390233"/>
            <a:ext cx="1399032" cy="1399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TextBox 21"/>
          <p:cNvSpPr txBox="1"/>
          <p:nvPr/>
        </p:nvSpPr>
        <p:spPr>
          <a:xfrm>
            <a:off x="124131" y="110278"/>
            <a:ext cx="6410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000000"/>
                </a:solidFill>
                <a:latin typeface="Open Sans"/>
              </a:rPr>
              <a:t>Speaker</a:t>
            </a:r>
            <a:endParaRPr lang="en-US" sz="1800" dirty="0"/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67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400" kern="0" dirty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: </a:t>
            </a:r>
            <a:endParaRPr lang="en-US" sz="2400" kern="0" dirty="0" smtClean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What is a Web Application?</a:t>
            </a:r>
            <a:endParaRPr lang="en-US" sz="24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95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Session 1: </a:t>
            </a: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What is a Web Application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8750" y="413231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History of Web Application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0213" y="944096"/>
            <a:ext cx="6801721" cy="5059457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58749" y="6016008"/>
            <a:ext cx="83465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 smtClean="0">
                <a:hlinkClick r:id="rId7"/>
              </a:rPr>
              <a:t>http://blog.octo.com/en/new-web-application-architectures-and-impacts-for-enterprises-1/</a:t>
            </a:r>
            <a:endParaRPr lang="en-US" sz="1200" dirty="0"/>
          </a:p>
          <a:p>
            <a:pPr algn="ctr"/>
            <a:endParaRPr lang="en-US" sz="1200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84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"/>
          <p:cNvPicPr/>
          <p:nvPr/>
        </p:nvPicPr>
        <p:blipFill>
          <a:blip r:embed="rId6"/>
          <a:stretch>
            <a:fillRect/>
          </a:stretch>
        </p:blipFill>
        <p:spPr bwMode="auto">
          <a:xfrm>
            <a:off x="2897814" y="1182623"/>
            <a:ext cx="5798820" cy="4434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SOFEA: Service Oriented – Front End Architectur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376450" y="1045892"/>
            <a:ext cx="367258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ean API/Servic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o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riting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I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rve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ient ap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nder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I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V* Frameworks provide structur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dula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b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s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bil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/Hybrid Apps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Session 1: </a:t>
            </a: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What is a Web Application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844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What enables </a:t>
            </a:r>
            <a:r>
              <a:rPr lang="en-US" sz="1800" dirty="0" err="1" smtClean="0">
                <a:solidFill>
                  <a:srgbClr val="1AB076"/>
                </a:solidFill>
                <a:latin typeface="Open Sans"/>
              </a:rPr>
              <a:t>Modern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 Web Application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376451" y="1045892"/>
            <a:ext cx="907221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5 – Provides missing elements needed by modern apps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ideo (preload), audio, canvas,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calStorag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header&gt;, &lt;footer&gt;, &lt;article&gt;, &lt;section&gt;, &lt;figure&gt;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tentEditabl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utofocus, custom attributes (data-attr1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s: email, validations, placeholders, patterns, range (sliders),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SS3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Browser/Platform layout enhancements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imations/transforms (GPU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ccelerated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adows, round corners, gradient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ette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b-fon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ppor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ew Selectors – easier to work with complex DOM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/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cma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5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etters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ters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ette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ndling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SON Improvement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rovemen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Session 1: </a:t>
            </a: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What is a Web Application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316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216190" y="951785"/>
            <a:ext cx="604832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dern Front End Architect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6"/>
              </a:rPr>
              <a:t>http://</a:t>
            </a:r>
            <a:r>
              <a:rPr lang="en-US" sz="1600" dirty="0" smtClean="0">
                <a:hlinkClick r:id="rId6"/>
              </a:rPr>
              <a:t>www.smart-soft.com/downloads/articles/sofea.html</a:t>
            </a:r>
            <a:endParaRPr lang="en-US" sz="1600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31</TotalTime>
  <Words>313</Words>
  <Application>Microsoft Office PowerPoint</Application>
  <PresentationFormat>Custom</PresentationFormat>
  <Paragraphs>69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crmadmin</cp:lastModifiedBy>
  <cp:revision>614</cp:revision>
  <cp:lastPrinted>2008-09-19T11:06:26Z</cp:lastPrinted>
  <dcterms:created xsi:type="dcterms:W3CDTF">2010-01-27T21:29:29Z</dcterms:created>
  <dcterms:modified xsi:type="dcterms:W3CDTF">2015-10-28T12:4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